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302" r:id="rId4"/>
    <p:sldId id="258" r:id="rId5"/>
    <p:sldId id="301" r:id="rId6"/>
    <p:sldId id="259" r:id="rId7"/>
    <p:sldId id="262" r:id="rId8"/>
    <p:sldId id="260" r:id="rId9"/>
    <p:sldId id="261" r:id="rId10"/>
    <p:sldId id="263" r:id="rId11"/>
    <p:sldId id="264" r:id="rId12"/>
    <p:sldId id="265" r:id="rId13"/>
    <p:sldId id="266" r:id="rId14"/>
    <p:sldId id="267" r:id="rId15"/>
    <p:sldId id="268" r:id="rId16"/>
    <p:sldId id="269" r:id="rId17"/>
    <p:sldId id="270" r:id="rId18"/>
    <p:sldId id="271" r:id="rId19"/>
    <p:sldId id="272" r:id="rId20"/>
    <p:sldId id="273" r:id="rId21"/>
    <p:sldId id="274" r:id="rId22"/>
    <p:sldId id="275" r:id="rId23"/>
    <p:sldId id="276" r:id="rId24"/>
    <p:sldId id="277" r:id="rId25"/>
    <p:sldId id="278" r:id="rId26"/>
    <p:sldId id="279" r:id="rId27"/>
    <p:sldId id="280" r:id="rId28"/>
    <p:sldId id="281" r:id="rId29"/>
    <p:sldId id="282" r:id="rId30"/>
    <p:sldId id="283" r:id="rId31"/>
    <p:sldId id="284" r:id="rId32"/>
    <p:sldId id="285" r:id="rId33"/>
    <p:sldId id="286" r:id="rId34"/>
    <p:sldId id="287" r:id="rId35"/>
    <p:sldId id="288" r:id="rId36"/>
    <p:sldId id="289" r:id="rId37"/>
    <p:sldId id="290" r:id="rId38"/>
    <p:sldId id="291" r:id="rId39"/>
    <p:sldId id="292" r:id="rId40"/>
    <p:sldId id="293" r:id="rId41"/>
    <p:sldId id="294" r:id="rId42"/>
    <p:sldId id="295" r:id="rId43"/>
    <p:sldId id="296" r:id="rId44"/>
    <p:sldId id="297" r:id="rId45"/>
    <p:sldId id="298" r:id="rId46"/>
    <p:sldId id="299" r:id="rId47"/>
    <p:sldId id="300" r:id="rId48"/>
  </p:sldIdLst>
  <p:sldSz cx="12192000" cy="6858000"/>
  <p:notesSz cx="6858000" cy="9144000"/>
  <p:custDataLst>
    <p:tags r:id="rId4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7" autoAdjust="0"/>
    <p:restoredTop sz="94660"/>
  </p:normalViewPr>
  <p:slideViewPr>
    <p:cSldViewPr snapToGrid="0">
      <p:cViewPr varScale="1">
        <p:scale>
          <a:sx n="73" d="100"/>
          <a:sy n="73" d="100"/>
        </p:scale>
        <p:origin x="998" y="3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80505B-F273-4F4A-8A9E-23D8E63DFC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C4FAD33-1784-4435-ABA6-712DC4AAFD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5E5FE4-B2DD-4F34-8A21-6795F6E16B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3D029-972E-440A-B2E5-B6B5DBE52055}" type="datetimeFigureOut">
              <a:rPr lang="en-US" smtClean="0"/>
              <a:t>10/11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5589B3-0BCB-42B5-A788-187F580293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175EE2-A0E2-4E0F-A539-5F7B22B893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1EB0A7-0CDD-4BB2-849B-3979EB546D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56513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9699CF-C733-4A42-A2CC-EDB00A9B9E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463CE9C-48CF-448A-8E9C-6BEE1CA2C06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254FF96-C013-4FBB-8076-281B914F72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3D029-972E-440A-B2E5-B6B5DBE52055}" type="datetimeFigureOut">
              <a:rPr lang="en-US" smtClean="0"/>
              <a:t>10/11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0CB36E-4812-4988-B970-C9396F7B3C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E19847-54CE-4129-BF39-EEDDAA8ABE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1EB0A7-0CDD-4BB2-849B-3979EB546D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31034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8657279-8377-4264-A40C-C7AF073E6F3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6ABA9BC-3F3E-46BE-B54B-239FBA0D2EF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B235FCC-0FB8-4CF1-962C-702EEC87A6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3D029-972E-440A-B2E5-B6B5DBE52055}" type="datetimeFigureOut">
              <a:rPr lang="en-US" smtClean="0"/>
              <a:t>10/11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9A31A4-0D03-4C21-B522-E13FCEC14D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6B1C06-196F-4741-89C1-3E2E1E67B4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1EB0A7-0CDD-4BB2-849B-3979EB546D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69343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06BF80-ADC2-4F98-AE2F-4FA795BBF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37EB01-C471-4C20-AA48-D178F7B5856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B01EDA-EA2A-43A6-91B1-8C6188711F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3D029-972E-440A-B2E5-B6B5DBE52055}" type="datetimeFigureOut">
              <a:rPr lang="en-US" smtClean="0"/>
              <a:t>10/11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BD947E-4689-4B69-8815-BBA3A07DA1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B51782-1A6D-4509-A0E3-E2AC5551E4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1EB0A7-0CDD-4BB2-849B-3979EB546D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98230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96E771-9282-4777-BDED-E47DAF1BE4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8DC92C-D90E-4563-B5F6-980EE40E57E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747F39-6D3C-4287-B388-EED21768DF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3D029-972E-440A-B2E5-B6B5DBE52055}" type="datetimeFigureOut">
              <a:rPr lang="en-US" smtClean="0"/>
              <a:t>10/11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72AFB5-80F6-454D-A9B5-349C5A4F50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6A68E8-1C08-4647-9DA9-DAC33F705C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1EB0A7-0CDD-4BB2-849B-3979EB546D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24451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0E96FB-18AA-48CD-81B2-C9CCF0E996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4B0816E-E472-440C-9876-D6B83101593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284C213-9666-4DAF-8DD9-792FE7AB12E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ED62D89-407F-4CE2-AA24-4B3EAB593E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3D029-972E-440A-B2E5-B6B5DBE52055}" type="datetimeFigureOut">
              <a:rPr lang="en-US" smtClean="0"/>
              <a:t>10/11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EEDC35C-130E-4C80-9F69-8E90CB1804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BE56E2F-3D0E-499E-A613-0C84D95089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1EB0A7-0CDD-4BB2-849B-3979EB546D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05778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0C5E96-C5A0-4EA5-A8EF-951ED179A5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AFFC0D-F5A5-4303-BB6B-CE7AE0E7FC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749AC9A-C880-4E2E-B05C-5363F82EED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5F124D8-6AC0-4133-AFEC-49E15B02BBB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2DEF900-33DC-4BA2-A867-BE826EF0836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365A9B1-BF57-4C64-BA62-CCD5F12DAC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3D029-972E-440A-B2E5-B6B5DBE52055}" type="datetimeFigureOut">
              <a:rPr lang="en-US" smtClean="0"/>
              <a:t>10/11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866600D-EEC5-412F-BD44-05774429CD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77E2C07-C7D2-45BB-8822-1CE1956B73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1EB0A7-0CDD-4BB2-849B-3979EB546D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40283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1ACD40-BA28-41CE-AC62-8D770666AE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02E3D25-44AC-445C-BB26-90EC2F8F09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3D029-972E-440A-B2E5-B6B5DBE52055}" type="datetimeFigureOut">
              <a:rPr lang="en-US" smtClean="0"/>
              <a:t>10/11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EEDBC1-97FD-429D-A43E-B8CE0237F2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66932C-44BF-4E6B-B53B-5BF33B0501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1EB0A7-0CDD-4BB2-849B-3979EB546D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6629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4999998-749D-40EE-A13A-605331CA55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3D029-972E-440A-B2E5-B6B5DBE52055}" type="datetimeFigureOut">
              <a:rPr lang="en-US" smtClean="0"/>
              <a:t>10/11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CEEAFAE-7997-4EAB-9EA5-2D8826560E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EFF70B-418E-4FBF-AA71-2FA19F1F2D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1EB0A7-0CDD-4BB2-849B-3979EB546D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47146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D9B3A5-60E6-4368-A965-435A0DF2E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4B36E9-61B7-484E-8B39-F6785AC0013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9F78CCD-FDB8-48B7-AF1D-AEF242FE539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8C4224D-6020-43D2-8FB5-FA1F240132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3D029-972E-440A-B2E5-B6B5DBE52055}" type="datetimeFigureOut">
              <a:rPr lang="en-US" smtClean="0"/>
              <a:t>10/11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1DC9406-4C26-40B4-A2A4-A84C2787F7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8A7C633-1D76-48FE-B647-1136D4504A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1EB0A7-0CDD-4BB2-849B-3979EB546D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09143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CFF99D-F266-40CC-8F68-05C8477E20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960DADC-1FCC-452A-BA65-FE5B719C0E9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14CEA9-82E5-432C-9354-4082FD2CABC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439185C-D3AA-416C-8F1F-BBC5F7AE4B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3D029-972E-440A-B2E5-B6B5DBE52055}" type="datetimeFigureOut">
              <a:rPr lang="en-US" smtClean="0"/>
              <a:t>10/11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D27F612-8F32-4593-84FE-48ABD6EC13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F4FE3D2-1A8E-444B-8475-73F93790F4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1EB0A7-0CDD-4BB2-849B-3979EB546D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74567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7072E95-C99A-43FF-A8B5-CA7CCA3F10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7723727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16" imgW="425" imgH="424" progId="TCLayout.ActiveDocument.1">
                  <p:embed/>
                </p:oleObj>
              </mc:Choice>
              <mc:Fallback>
                <p:oleObj name="think-cell Slide" r:id="rId16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6B95696-B6EE-4CD3-BE61-903E6E5ED873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AB5B9C8-1B13-490B-BEE8-D29DED839C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652AC7-3930-445E-AB99-412565728F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AF8617-9448-48E9-BCE4-6BCE68FC7C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B3D029-972E-440A-B2E5-B6B5DBE52055}" type="datetimeFigureOut">
              <a:rPr lang="en-US" smtClean="0"/>
              <a:t>10/11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05AE173-9E00-48AF-AC5F-5D129D14AB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58D254-F6B1-4598-BD2E-3C0D98FCC7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1EB0A7-0CDD-4BB2-849B-3979EB546D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89897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mp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tmp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mp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0.tmp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11.tmp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2.tmp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tmp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tmp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tmp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6.tmp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mp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tmp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tmp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tmp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tmp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tmp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tmp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23.tmp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tmp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mp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mp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tmp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tmp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03E5C28-75C1-4DF2-A2B7-0C93B95A6F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7045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64CDF4D-21D3-4A83-A542-E1BD331B1E2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60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2881AC6-F465-4377-89CA-68C084BF09B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orporate Story Telli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9A11B38-D749-4ABC-84BE-2A9538172F8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02236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3ED21C-5037-4319-B2B2-B5FFEC211C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Content Placeholder 8" descr="iSpeak- Corporate Storytelling APJ - Adobe Connect">
            <a:extLst>
              <a:ext uri="{FF2B5EF4-FFF2-40B4-BE49-F238E27FC236}">
                <a16:creationId xmlns:a16="http://schemas.microsoft.com/office/drawing/2014/main" id="{6A856183-D3E8-40F3-96B7-154A5C6AA94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7117" y="1958957"/>
            <a:ext cx="7437765" cy="4084674"/>
          </a:xfrm>
        </p:spPr>
      </p:pic>
    </p:spTree>
    <p:extLst>
      <p:ext uri="{BB962C8B-B14F-4D97-AF65-F5344CB8AC3E}">
        <p14:creationId xmlns:p14="http://schemas.microsoft.com/office/powerpoint/2010/main" val="42450603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97FFC9-F859-447B-BEB0-3F0C104EED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Content Placeholder 4" descr="iSpeak- Corporate Storytelling APJ - Adobe Connect">
            <a:extLst>
              <a:ext uri="{FF2B5EF4-FFF2-40B4-BE49-F238E27FC236}">
                <a16:creationId xmlns:a16="http://schemas.microsoft.com/office/drawing/2014/main" id="{29EC07A7-6E52-46F1-81D8-56CF8FE1F0B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7117" y="1958957"/>
            <a:ext cx="7437765" cy="4084674"/>
          </a:xfrm>
        </p:spPr>
      </p:pic>
    </p:spTree>
    <p:extLst>
      <p:ext uri="{BB962C8B-B14F-4D97-AF65-F5344CB8AC3E}">
        <p14:creationId xmlns:p14="http://schemas.microsoft.com/office/powerpoint/2010/main" val="33060017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9F456F-710F-4229-ABD7-193ABE2DAA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Content Placeholder 4" descr="iSpeak- Corporate Storytelling APJ - Adobe Connect">
            <a:extLst>
              <a:ext uri="{FF2B5EF4-FFF2-40B4-BE49-F238E27FC236}">
                <a16:creationId xmlns:a16="http://schemas.microsoft.com/office/drawing/2014/main" id="{CC7A84AC-96B9-4277-BAD1-B518DDD8904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7117" y="1958957"/>
            <a:ext cx="7437765" cy="4084674"/>
          </a:xfrm>
        </p:spPr>
      </p:pic>
    </p:spTree>
    <p:extLst>
      <p:ext uri="{BB962C8B-B14F-4D97-AF65-F5344CB8AC3E}">
        <p14:creationId xmlns:p14="http://schemas.microsoft.com/office/powerpoint/2010/main" val="340331274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5EE7185-F455-4DC8-9C85-DEDD1F8459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8863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C1960C8-CE90-4D47-B8CF-180670D42B4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631FB8-AD03-4C74-AC97-368A19F141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ctional </a:t>
            </a:r>
          </a:p>
        </p:txBody>
      </p:sp>
      <p:pic>
        <p:nvPicPr>
          <p:cNvPr id="5" name="Content Placeholder 4" descr="iSpeak- Corporate Storytelling APJ - Adobe Connect">
            <a:extLst>
              <a:ext uri="{FF2B5EF4-FFF2-40B4-BE49-F238E27FC236}">
                <a16:creationId xmlns:a16="http://schemas.microsoft.com/office/drawing/2014/main" id="{2A61EE77-2C2C-4436-B546-F6BD6F3DD03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7117" y="1958957"/>
            <a:ext cx="7437765" cy="4084674"/>
          </a:xfrm>
        </p:spPr>
      </p:pic>
    </p:spTree>
    <p:extLst>
      <p:ext uri="{BB962C8B-B14F-4D97-AF65-F5344CB8AC3E}">
        <p14:creationId xmlns:p14="http://schemas.microsoft.com/office/powerpoint/2010/main" val="5590497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69AFC51-AD67-4623-A8E2-B9134D5B99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61341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8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380E878-304E-45FF-BA0E-EF81079D11F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84D4A09-4968-45AA-9460-4CE45994AA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storical </a:t>
            </a:r>
          </a:p>
        </p:txBody>
      </p:sp>
      <p:pic>
        <p:nvPicPr>
          <p:cNvPr id="5" name="Content Placeholder 4" descr="iSpeak- Corporate Storytelling APJ - Adobe Connect">
            <a:extLst>
              <a:ext uri="{FF2B5EF4-FFF2-40B4-BE49-F238E27FC236}">
                <a16:creationId xmlns:a16="http://schemas.microsoft.com/office/drawing/2014/main" id="{1450AF09-FD3A-409F-8542-0D12A51BE5E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7117" y="1958957"/>
            <a:ext cx="7437765" cy="4084674"/>
          </a:xfrm>
        </p:spPr>
      </p:pic>
    </p:spTree>
    <p:extLst>
      <p:ext uri="{BB962C8B-B14F-4D97-AF65-F5344CB8AC3E}">
        <p14:creationId xmlns:p14="http://schemas.microsoft.com/office/powerpoint/2010/main" val="28259090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F97AAF4-306D-4CCF-A135-B2818F86506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4782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1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5C6C04A-A9EA-480B-936B-F231E29AFAA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D95E3C-48DC-474D-B532-ED43A32A9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ies from other people </a:t>
            </a:r>
          </a:p>
        </p:txBody>
      </p:sp>
      <p:pic>
        <p:nvPicPr>
          <p:cNvPr id="5" name="Content Placeholder 4" descr="iSpeak- Corporate Storytelling APJ - Adobe Connect">
            <a:extLst>
              <a:ext uri="{FF2B5EF4-FFF2-40B4-BE49-F238E27FC236}">
                <a16:creationId xmlns:a16="http://schemas.microsoft.com/office/drawing/2014/main" id="{05CEC895-2B8B-4E0A-91E6-E7AC0458FE1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7117" y="1958957"/>
            <a:ext cx="7437765" cy="4084674"/>
          </a:xfrm>
        </p:spPr>
      </p:pic>
    </p:spTree>
    <p:extLst>
      <p:ext uri="{BB962C8B-B14F-4D97-AF65-F5344CB8AC3E}">
        <p14:creationId xmlns:p14="http://schemas.microsoft.com/office/powerpoint/2010/main" val="36887632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BEA58A-55C8-4766-A7F7-C45F3BF979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Content Placeholder 4" descr="iSpeak- Corporate Storytelling APJ - Adobe Connect">
            <a:extLst>
              <a:ext uri="{FF2B5EF4-FFF2-40B4-BE49-F238E27FC236}">
                <a16:creationId xmlns:a16="http://schemas.microsoft.com/office/drawing/2014/main" id="{3740AA05-9383-43B7-8605-5F0CDB2605C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7117" y="1958957"/>
            <a:ext cx="7437765" cy="4084674"/>
          </a:xfrm>
        </p:spPr>
      </p:pic>
    </p:spTree>
    <p:extLst>
      <p:ext uri="{BB962C8B-B14F-4D97-AF65-F5344CB8AC3E}">
        <p14:creationId xmlns:p14="http://schemas.microsoft.com/office/powerpoint/2010/main" val="123600928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89C004-FDD9-4AD3-A197-FD3CDD6515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Content Placeholder 4" descr="iSpeak- Corporate Storytelling APJ - Adobe Connect">
            <a:extLst>
              <a:ext uri="{FF2B5EF4-FFF2-40B4-BE49-F238E27FC236}">
                <a16:creationId xmlns:a16="http://schemas.microsoft.com/office/drawing/2014/main" id="{296B58C2-DC8E-49AB-A31D-74300ED4980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7117" y="1958957"/>
            <a:ext cx="7437765" cy="4084674"/>
          </a:xfrm>
        </p:spPr>
      </p:pic>
    </p:spTree>
    <p:extLst>
      <p:ext uri="{BB962C8B-B14F-4D97-AF65-F5344CB8AC3E}">
        <p14:creationId xmlns:p14="http://schemas.microsoft.com/office/powerpoint/2010/main" val="215509153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54A695-5C9C-4FA7-9518-9FB50581C1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Content Placeholder 4" descr="iSpeak- Corporate Storytelling APJ - Adobe Connect">
            <a:extLst>
              <a:ext uri="{FF2B5EF4-FFF2-40B4-BE49-F238E27FC236}">
                <a16:creationId xmlns:a16="http://schemas.microsoft.com/office/drawing/2014/main" id="{FB94C16D-3F7C-4856-AB38-65E0A8FAEA7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7117" y="1958957"/>
            <a:ext cx="7437765" cy="4084674"/>
          </a:xfrm>
        </p:spPr>
      </p:pic>
    </p:spTree>
    <p:extLst>
      <p:ext uri="{BB962C8B-B14F-4D97-AF65-F5344CB8AC3E}">
        <p14:creationId xmlns:p14="http://schemas.microsoft.com/office/powerpoint/2010/main" val="296925762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E6B5E9D-F263-445B-AA86-B8625450452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8311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3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0211C4B-3652-4AB8-9F1D-E687ECF337C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6DF6C5-672A-45BC-8589-5F43E7E651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tell this story?</a:t>
            </a:r>
          </a:p>
        </p:txBody>
      </p:sp>
      <p:pic>
        <p:nvPicPr>
          <p:cNvPr id="5" name="Content Placeholder 4" descr="iSpeak- Corporate Storytelling APJ - Adobe Connect">
            <a:extLst>
              <a:ext uri="{FF2B5EF4-FFF2-40B4-BE49-F238E27FC236}">
                <a16:creationId xmlns:a16="http://schemas.microsoft.com/office/drawing/2014/main" id="{8F2BE6BA-1D0F-49F7-8F7B-FBDB54AC499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7117" y="1958957"/>
            <a:ext cx="7437765" cy="4084674"/>
          </a:xfrm>
        </p:spPr>
      </p:pic>
    </p:spTree>
    <p:extLst>
      <p:ext uri="{BB962C8B-B14F-4D97-AF65-F5344CB8AC3E}">
        <p14:creationId xmlns:p14="http://schemas.microsoft.com/office/powerpoint/2010/main" val="21285466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D1BE0D-DAA6-49D5-8B30-737FE6EF4C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Content Placeholder 8" descr="iSpeak- Corporate Storytelling APJ - Adobe Connect">
            <a:extLst>
              <a:ext uri="{FF2B5EF4-FFF2-40B4-BE49-F238E27FC236}">
                <a16:creationId xmlns:a16="http://schemas.microsoft.com/office/drawing/2014/main" id="{A98EB363-1A29-4C9F-8357-BDB5B754717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7117" y="1958957"/>
            <a:ext cx="7437765" cy="4084674"/>
          </a:xfrm>
        </p:spPr>
      </p:pic>
    </p:spTree>
    <p:extLst>
      <p:ext uri="{BB962C8B-B14F-4D97-AF65-F5344CB8AC3E}">
        <p14:creationId xmlns:p14="http://schemas.microsoft.com/office/powerpoint/2010/main" val="311979479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613390-3AB9-4092-934D-F28A8E8F43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Content Placeholder 4" descr="iSpeak- Corporate Storytelling APJ - Adobe Connect">
            <a:extLst>
              <a:ext uri="{FF2B5EF4-FFF2-40B4-BE49-F238E27FC236}">
                <a16:creationId xmlns:a16="http://schemas.microsoft.com/office/drawing/2014/main" id="{1F96343B-06F0-46A2-8253-7D45CE40657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7117" y="1958957"/>
            <a:ext cx="7437765" cy="4084674"/>
          </a:xfrm>
        </p:spPr>
      </p:pic>
    </p:spTree>
    <p:extLst>
      <p:ext uri="{BB962C8B-B14F-4D97-AF65-F5344CB8AC3E}">
        <p14:creationId xmlns:p14="http://schemas.microsoft.com/office/powerpoint/2010/main" val="327199210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E24622-BAC2-476B-ACAF-CB8598BEA6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Content Placeholder 4" descr="iSpeak- Corporate Storytelling APJ - Adobe Connect">
            <a:extLst>
              <a:ext uri="{FF2B5EF4-FFF2-40B4-BE49-F238E27FC236}">
                <a16:creationId xmlns:a16="http://schemas.microsoft.com/office/drawing/2014/main" id="{B5D37BB7-31C0-4A13-9C95-05C06447898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7117" y="1958957"/>
            <a:ext cx="7437765" cy="4084674"/>
          </a:xfrm>
        </p:spPr>
      </p:pic>
    </p:spTree>
    <p:extLst>
      <p:ext uri="{BB962C8B-B14F-4D97-AF65-F5344CB8AC3E}">
        <p14:creationId xmlns:p14="http://schemas.microsoft.com/office/powerpoint/2010/main" val="386011459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B8BB0B-245F-4D63-BFB2-1B252D36C3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Content Placeholder 4" descr="iSpeak- Corporate Storytelling APJ - Adobe Connect">
            <a:extLst>
              <a:ext uri="{FF2B5EF4-FFF2-40B4-BE49-F238E27FC236}">
                <a16:creationId xmlns:a16="http://schemas.microsoft.com/office/drawing/2014/main" id="{1BD6E4C8-B3B7-4668-BCDC-E16B3A9AFAF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7117" y="1958957"/>
            <a:ext cx="7437765" cy="4084674"/>
          </a:xfrm>
        </p:spPr>
      </p:pic>
    </p:spTree>
    <p:extLst>
      <p:ext uri="{BB962C8B-B14F-4D97-AF65-F5344CB8AC3E}">
        <p14:creationId xmlns:p14="http://schemas.microsoft.com/office/powerpoint/2010/main" val="185411415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E82765-D8AD-429A-A83C-FDBDDB70DB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Content Placeholder 4" descr="iSpeak- Corporate Storytelling APJ - Adobe Connect">
            <a:extLst>
              <a:ext uri="{FF2B5EF4-FFF2-40B4-BE49-F238E27FC236}">
                <a16:creationId xmlns:a16="http://schemas.microsoft.com/office/drawing/2014/main" id="{91DC5A9E-42E2-442A-B56F-24685E861A3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7117" y="1958957"/>
            <a:ext cx="7437765" cy="4084674"/>
          </a:xfrm>
        </p:spPr>
      </p:pic>
    </p:spTree>
    <p:extLst>
      <p:ext uri="{BB962C8B-B14F-4D97-AF65-F5344CB8AC3E}">
        <p14:creationId xmlns:p14="http://schemas.microsoft.com/office/powerpoint/2010/main" val="388867782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26B073-D738-464B-9175-F99EF69932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Content Placeholder 4" descr="iSpeak- Corporate Storytelling APJ - Adobe Connect">
            <a:extLst>
              <a:ext uri="{FF2B5EF4-FFF2-40B4-BE49-F238E27FC236}">
                <a16:creationId xmlns:a16="http://schemas.microsoft.com/office/drawing/2014/main" id="{7E7CE9EF-93C4-4C5F-A4CA-D2991137CF0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7117" y="1958957"/>
            <a:ext cx="7437765" cy="4084674"/>
          </a:xfrm>
        </p:spPr>
      </p:pic>
    </p:spTree>
    <p:extLst>
      <p:ext uri="{BB962C8B-B14F-4D97-AF65-F5344CB8AC3E}">
        <p14:creationId xmlns:p14="http://schemas.microsoft.com/office/powerpoint/2010/main" val="235515676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73797A-EB09-4B73-8FD7-CA07749977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Content Placeholder 4" descr="iSpeak- Corporate Storytelling APJ - Adobe Connect">
            <a:extLst>
              <a:ext uri="{FF2B5EF4-FFF2-40B4-BE49-F238E27FC236}">
                <a16:creationId xmlns:a16="http://schemas.microsoft.com/office/drawing/2014/main" id="{2ECBF566-E682-4C8A-9261-E3208E5ABF4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7117" y="1958957"/>
            <a:ext cx="7437765" cy="4084674"/>
          </a:xfrm>
        </p:spPr>
      </p:pic>
    </p:spTree>
    <p:extLst>
      <p:ext uri="{BB962C8B-B14F-4D97-AF65-F5344CB8AC3E}">
        <p14:creationId xmlns:p14="http://schemas.microsoft.com/office/powerpoint/2010/main" val="306870327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9C4C820-E247-4546-90ED-FA1A3B8EA2B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4400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9A14B1F7-83D8-407F-9399-1EBFE0471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CF03866-5041-4231-87B8-0BB3E0B544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cus beats Tech, </a:t>
            </a:r>
          </a:p>
        </p:txBody>
      </p:sp>
      <p:pic>
        <p:nvPicPr>
          <p:cNvPr id="5" name="Content Placeholder 4" descr="iSpeak- Corporate Storytelling APJ - Adobe Connect">
            <a:extLst>
              <a:ext uri="{FF2B5EF4-FFF2-40B4-BE49-F238E27FC236}">
                <a16:creationId xmlns:a16="http://schemas.microsoft.com/office/drawing/2014/main" id="{93F299E7-0318-426A-8B26-E2840970765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7117" y="1958957"/>
            <a:ext cx="7437765" cy="4084674"/>
          </a:xfrm>
        </p:spPr>
      </p:pic>
    </p:spTree>
    <p:extLst>
      <p:ext uri="{BB962C8B-B14F-4D97-AF65-F5344CB8AC3E}">
        <p14:creationId xmlns:p14="http://schemas.microsoft.com/office/powerpoint/2010/main" val="351125015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3F7E55-8CC4-44DD-91C8-2D1ED6F89D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1" name="Content Placeholder 20" descr="iSpeak- Corporate Storytelling APJ - Adobe Connect">
            <a:extLst>
              <a:ext uri="{FF2B5EF4-FFF2-40B4-BE49-F238E27FC236}">
                <a16:creationId xmlns:a16="http://schemas.microsoft.com/office/drawing/2014/main" id="{71F01593-6438-449D-A4C6-ADA335F7655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7117" y="1958957"/>
            <a:ext cx="7437765" cy="4084674"/>
          </a:xfrm>
        </p:spPr>
      </p:pic>
    </p:spTree>
    <p:extLst>
      <p:ext uri="{BB962C8B-B14F-4D97-AF65-F5344CB8AC3E}">
        <p14:creationId xmlns:p14="http://schemas.microsoft.com/office/powerpoint/2010/main" val="393317078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22B5E2-20CA-48EB-A01E-D7BB0D0E4B0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279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06FBD92-41F1-4DD9-926B-0EEA24634F8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EBFCDD7-344E-4BBF-A421-C703A4491B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Tube Chann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64804B1-D2D3-4C69-B57E-3D8362545A6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Opening : Have you ever been in a situation where your personal goals get pushed away? Like wanting to read or write?</a:t>
            </a:r>
          </a:p>
          <a:p>
            <a:r>
              <a:rPr lang="en-US" dirty="0"/>
              <a:t>Sustaining a Channel is hard – I have these bursts but then I cannot make time for videos </a:t>
            </a:r>
          </a:p>
          <a:p>
            <a:r>
              <a:rPr lang="en-US" dirty="0"/>
              <a:t>So I saw some </a:t>
            </a:r>
            <a:r>
              <a:rPr lang="en-US" dirty="0" err="1"/>
              <a:t>Youtube</a:t>
            </a:r>
            <a:r>
              <a:rPr lang="en-US" dirty="0"/>
              <a:t> Videos – as there is this community who has faced all these challenges and solved them </a:t>
            </a:r>
          </a:p>
          <a:p>
            <a:r>
              <a:rPr lang="en-US" dirty="0"/>
              <a:t>I sat down and broke my process – instead of doing it all in one session </a:t>
            </a:r>
          </a:p>
          <a:p>
            <a:pPr lvl="1"/>
            <a:r>
              <a:rPr lang="en-US" dirty="0"/>
              <a:t>Create Content – Record – Post </a:t>
            </a:r>
          </a:p>
          <a:p>
            <a:r>
              <a:rPr lang="en-US" dirty="0"/>
              <a:t>Closing : Now I have grown from having 800 to 1900 subscribers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417705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34F743-7141-4B72-91DE-74B9C6DCA5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309D80-B76D-461E-88C5-6AC0C28B60F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20536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8736818-C99C-481B-A625-E5A4FC62C0D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1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5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F463A57-5182-42C0-8657-A791EDC1A30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77BDB7-0ADF-42A1-B267-1C49AAB485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dentify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C1890E-C4BA-4F3F-853B-3C0B04F85C7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10000"/>
          </a:bodyPr>
          <a:lstStyle/>
          <a:p>
            <a:r>
              <a:rPr lang="en-US" dirty="0"/>
              <a:t>I began training out of necessity. I hated every day of training 1000’s of student. I trained everyday on weekends too (took Leave from 1-7</a:t>
            </a:r>
            <a:r>
              <a:rPr lang="en-US" baseline="30000" dirty="0"/>
              <a:t>th</a:t>
            </a:r>
            <a:r>
              <a:rPr lang="en-US" dirty="0"/>
              <a:t> April in one year)</a:t>
            </a:r>
          </a:p>
          <a:p>
            <a:pPr lvl="1"/>
            <a:r>
              <a:rPr lang="en-US" dirty="0"/>
              <a:t>Being Anxious and lack of confidence</a:t>
            </a:r>
          </a:p>
          <a:p>
            <a:r>
              <a:rPr lang="en-US" dirty="0"/>
              <a:t> Its only when I switched my job to a company I realized that the Data Analytics skills I developed made me more efficient than 3-5 years experienced members – within 1 year itself I was promoted to lead the team </a:t>
            </a:r>
          </a:p>
          <a:p>
            <a:r>
              <a:rPr lang="en-US" dirty="0"/>
              <a:t>I learned that learning and teaching gave me far more clarity and hold of the subject – Further confirmed by Strength Finder that one of my Strengths is Learning and other one Development </a:t>
            </a:r>
          </a:p>
          <a:p>
            <a:r>
              <a:rPr lang="en-US" dirty="0"/>
              <a:t>Today I am an avid Learner with over 80 online courses and a Analytics Trainer (teaching over 100 hours to thousands of students)</a:t>
            </a:r>
          </a:p>
          <a:p>
            <a:r>
              <a:rPr lang="en-US" dirty="0"/>
              <a:t>Analytics Practitioner, Lifeaholic Evangelist, Learner, YouTube and Scuba Diver  </a:t>
            </a:r>
          </a:p>
        </p:txBody>
      </p:sp>
    </p:spTree>
    <p:extLst>
      <p:ext uri="{BB962C8B-B14F-4D97-AF65-F5344CB8AC3E}">
        <p14:creationId xmlns:p14="http://schemas.microsoft.com/office/powerpoint/2010/main" val="403835875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3E314F-BE80-4FC3-9297-FF9E7BC75C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4671A6-6358-4FAD-8432-E1D4F090A04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204745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DE0B01-B032-4D51-AFAF-4D05E50ECC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412AD0-042E-4C31-A416-39766649433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992016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8E4A0F-9B34-4018-B45C-D06D249A3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7070B6-34B5-4768-8204-7BF92BB6267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57218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F1EC4D-B87D-4BC0-89C1-42D8FE4810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D295A6-4F35-4922-B79F-0221775E71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372945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9094B9-BAD9-4430-9D1C-5961094E23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3ED559-C666-4EA6-AE1E-6E82567F6A2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603930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F0087E-E388-4A12-AAF2-5F6040CE38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0013E8-7CB7-4283-B320-D28231B1E8F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732875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4FA61-6F76-4E9D-8FA7-05A2C31FA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C085CF-F58C-4EF6-9A2F-3D37767770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495132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E61366-224D-4770-9B87-26B4251AEA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ACFBE3-94F3-4AC1-BF83-5705477A0F0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916301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4A2136-F884-4509-9F52-E245C8C68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9814FE-E7F1-4AE4-9109-1FD2C58B1A2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488977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766FFD-36F9-47ED-9395-1CF5CAD3F8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E3FF45-2C51-4CFB-8E0E-12A185B3E9C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02276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901A79-D5B6-4B7A-B567-910BA04CCD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Content Placeholder 4" descr="iSpeak- Corporate Storytelling APJ - Adobe Connect">
            <a:extLst>
              <a:ext uri="{FF2B5EF4-FFF2-40B4-BE49-F238E27FC236}">
                <a16:creationId xmlns:a16="http://schemas.microsoft.com/office/drawing/2014/main" id="{1708D8F5-6E0C-4F08-9937-38C77A0C81F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7117" y="1958957"/>
            <a:ext cx="7437765" cy="4084674"/>
          </a:xfrm>
        </p:spPr>
      </p:pic>
    </p:spTree>
    <p:extLst>
      <p:ext uri="{BB962C8B-B14F-4D97-AF65-F5344CB8AC3E}">
        <p14:creationId xmlns:p14="http://schemas.microsoft.com/office/powerpoint/2010/main" val="303653002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6E9B41-AE88-4A54-BD91-CDEDB658C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E8B422-2326-4C7A-ABD6-048A6ECF4B0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53435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4B1702-5D4B-40E0-8955-A9C05F9536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537BA9-464A-4F56-BA7E-B2E6AD7FB4E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553187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FE5229-174D-412C-A215-7430649AB4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DB1513-D296-4EA8-B9D5-FB8090B9EB2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775202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3C2367-D2E7-422D-B0F6-EC12983CBC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5E9588-B488-42EA-B98A-62765C1718C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500562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C82563-954F-4F35-A728-4C85A14AAB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2BB66B-543A-4D5D-AC2B-D9459EEF4B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792251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742C2A-8E94-4C59-8DED-38CBACBE98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E19F45-DEE8-41A3-B4CB-7608F103125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766200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B27E9A-3C60-4A00-B696-F83B0B75DD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B65B05-97C1-4770-8904-5B8D234C54B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164885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DF5F6F-45BD-4D29-BA3A-1F99EEC43B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48A471-2C63-427F-A372-E3A0EB02FB1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51388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A24DA6-6EC6-42DD-9EA6-BCF9CC4FBC0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3656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2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FF3CAA-AF45-4904-8B63-F085D76B034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41C811-77E7-4665-8013-E81E6B02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ding my strength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22D74B-3201-489C-8C96-3C9E0AF50D8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endParaRPr lang="en-US" dirty="0"/>
          </a:p>
          <a:p>
            <a:r>
              <a:rPr lang="en-US" dirty="0"/>
              <a:t>I have always been driven by Insecurity and Anxiety if what will happen with my future – Always </a:t>
            </a:r>
          </a:p>
          <a:p>
            <a:r>
              <a:rPr lang="en-US" dirty="0"/>
              <a:t>While looking for a way out of this anxiety loop – I found a book named strength finder – I took the test </a:t>
            </a:r>
          </a:p>
          <a:p>
            <a:r>
              <a:rPr lang="en-US" dirty="0"/>
              <a:t>Found that Learning and Development is 2 of my key strengths – So decided to maximize on them</a:t>
            </a:r>
          </a:p>
          <a:p>
            <a:r>
              <a:rPr lang="en-US" dirty="0"/>
              <a:t>Today I have learned over 80 courses online – this being one of them</a:t>
            </a:r>
          </a:p>
          <a:p>
            <a:r>
              <a:rPr lang="en-US" dirty="0"/>
              <a:t>I have done over 100 hours of training in this year and I have been confident about myself  </a:t>
            </a:r>
          </a:p>
        </p:txBody>
      </p:sp>
    </p:spTree>
    <p:extLst>
      <p:ext uri="{BB962C8B-B14F-4D97-AF65-F5344CB8AC3E}">
        <p14:creationId xmlns:p14="http://schemas.microsoft.com/office/powerpoint/2010/main" val="34181848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038BD0-04AF-4E9D-97C7-39331C5758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Content Placeholder 4" descr="iSpeak- Corporate Storytelling APJ - Adobe Connect">
            <a:extLst>
              <a:ext uri="{FF2B5EF4-FFF2-40B4-BE49-F238E27FC236}">
                <a16:creationId xmlns:a16="http://schemas.microsoft.com/office/drawing/2014/main" id="{8B807B81-3112-4BED-A3D7-56E0062EAF4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7117" y="1958957"/>
            <a:ext cx="7437765" cy="4084674"/>
          </a:xfrm>
        </p:spPr>
      </p:pic>
    </p:spTree>
    <p:extLst>
      <p:ext uri="{BB962C8B-B14F-4D97-AF65-F5344CB8AC3E}">
        <p14:creationId xmlns:p14="http://schemas.microsoft.com/office/powerpoint/2010/main" val="33539096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A933F1A-3C8D-4633-81A1-5D81A3C94E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1401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F495DE-A43A-49B6-95FB-61663ED3997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90C8831-B09B-4487-8A77-3CDBF9BDDD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 MB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D614A1-C958-4B32-9D8A-502BEF85194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ost 8 years I was faced with an decision of take do an MBA or not</a:t>
            </a:r>
          </a:p>
          <a:p>
            <a:r>
              <a:rPr lang="en-US" dirty="0"/>
              <a:t> I believe that we live in an era where information is abundant – we need to get better at assimilating them – Hopefully do our own MBA and its cheaper</a:t>
            </a:r>
          </a:p>
          <a:p>
            <a:r>
              <a:rPr lang="en-US" dirty="0"/>
              <a:t>While in a Honeymoon in a Island called Gili T, Bali – I met one person on the hill top – he was a Harvard Professor on backpacking trip </a:t>
            </a:r>
          </a:p>
          <a:p>
            <a:pPr lvl="1"/>
            <a:r>
              <a:rPr lang="en-US" dirty="0"/>
              <a:t>I took the opportunity to tell him about my decision – He strongly advised me against the MBA </a:t>
            </a:r>
          </a:p>
          <a:p>
            <a:r>
              <a:rPr lang="en-US" dirty="0"/>
              <a:t>So here I am designing my own MBA thought Online Learning Platforms and Meetup’s and Conferences for Building connections </a:t>
            </a:r>
          </a:p>
        </p:txBody>
      </p:sp>
    </p:spTree>
    <p:extLst>
      <p:ext uri="{BB962C8B-B14F-4D97-AF65-F5344CB8AC3E}">
        <p14:creationId xmlns:p14="http://schemas.microsoft.com/office/powerpoint/2010/main" val="14323610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AE2536-F877-4C1F-9FB7-255D7900E7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Content Placeholder 4" descr="iSpeak- Corporate Storytelling APJ - Adobe Connect">
            <a:extLst>
              <a:ext uri="{FF2B5EF4-FFF2-40B4-BE49-F238E27FC236}">
                <a16:creationId xmlns:a16="http://schemas.microsoft.com/office/drawing/2014/main" id="{C1CC7E5D-E491-42A0-B3C1-742C85D573E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7117" y="1958957"/>
            <a:ext cx="7437765" cy="4084674"/>
          </a:xfrm>
        </p:spPr>
      </p:pic>
    </p:spTree>
    <p:extLst>
      <p:ext uri="{BB962C8B-B14F-4D97-AF65-F5344CB8AC3E}">
        <p14:creationId xmlns:p14="http://schemas.microsoft.com/office/powerpoint/2010/main" val="14420854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8533B2-6C86-45D1-B235-36D3B77E61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Content Placeholder 4" descr="iSpeak- Corporate Storytelling APJ - Adobe Connect">
            <a:extLst>
              <a:ext uri="{FF2B5EF4-FFF2-40B4-BE49-F238E27FC236}">
                <a16:creationId xmlns:a16="http://schemas.microsoft.com/office/drawing/2014/main" id="{A5AE56DD-CD27-4A39-9EFD-D1673D1A625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7117" y="1958957"/>
            <a:ext cx="7437765" cy="4084674"/>
          </a:xfrm>
        </p:spPr>
      </p:pic>
    </p:spTree>
    <p:extLst>
      <p:ext uri="{BB962C8B-B14F-4D97-AF65-F5344CB8AC3E}">
        <p14:creationId xmlns:p14="http://schemas.microsoft.com/office/powerpoint/2010/main" val="42456437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OYizrhGKm1TUcp6bXN2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egXrqNISoQpFZNv9_9sr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zUY9NV_sBZmZf0lkm5o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dAhXNj2g7EjykMhweWK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e6i2NRwkYCjfwHVaVgUd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3e3.a6WOQ__mIrTxSMP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b5ulk6.LZBQuYNSkGHW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2mY4u9ktYdlNA3W4sj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RtElA9lB5732qfazdp6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SS.lNwURqBqHscixkpf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9A_pyAf9AiiscwZ4XBH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73</TotalTime>
  <Words>478</Words>
  <Application>Microsoft Office PowerPoint</Application>
  <PresentationFormat>Widescreen</PresentationFormat>
  <Paragraphs>33</Paragraphs>
  <Slides>4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7</vt:i4>
      </vt:variant>
    </vt:vector>
  </HeadingPairs>
  <TitlesOfParts>
    <vt:vector size="52" baseType="lpstr">
      <vt:lpstr>Arial</vt:lpstr>
      <vt:lpstr>Calibri</vt:lpstr>
      <vt:lpstr>Calibri Light</vt:lpstr>
      <vt:lpstr>Office Theme</vt:lpstr>
      <vt:lpstr>think-cell Slide</vt:lpstr>
      <vt:lpstr>Corporate Story Telling</vt:lpstr>
      <vt:lpstr>PowerPoint Presentation</vt:lpstr>
      <vt:lpstr>Identify </vt:lpstr>
      <vt:lpstr>PowerPoint Presentation</vt:lpstr>
      <vt:lpstr>Finding my strength </vt:lpstr>
      <vt:lpstr>PowerPoint Presentation</vt:lpstr>
      <vt:lpstr>No MB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Fictional </vt:lpstr>
      <vt:lpstr>Historical </vt:lpstr>
      <vt:lpstr>Stories from other people </vt:lpstr>
      <vt:lpstr>PowerPoint Presentation</vt:lpstr>
      <vt:lpstr>PowerPoint Presentation</vt:lpstr>
      <vt:lpstr>PowerPoint Presentation</vt:lpstr>
      <vt:lpstr>Why tell this story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Focus beats Tech, </vt:lpstr>
      <vt:lpstr>PowerPoint Presentation</vt:lpstr>
      <vt:lpstr>YouTube Channe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aik, Kunaal</dc:creator>
  <cp:lastModifiedBy>Naik, Kunaal</cp:lastModifiedBy>
  <cp:revision>26</cp:revision>
  <dcterms:created xsi:type="dcterms:W3CDTF">2019-10-10T02:43:04Z</dcterms:created>
  <dcterms:modified xsi:type="dcterms:W3CDTF">2019-10-11T12:13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7cb76b2-10b8-4fe1-93d4-2202842406cd_Enabled">
    <vt:lpwstr>True</vt:lpwstr>
  </property>
  <property fmtid="{D5CDD505-2E9C-101B-9397-08002B2CF9AE}" pid="3" name="MSIP_Label_17cb76b2-10b8-4fe1-93d4-2202842406cd_SiteId">
    <vt:lpwstr>945c199a-83a2-4e80-9f8c-5a91be5752dd</vt:lpwstr>
  </property>
  <property fmtid="{D5CDD505-2E9C-101B-9397-08002B2CF9AE}" pid="4" name="MSIP_Label_17cb76b2-10b8-4fe1-93d4-2202842406cd_Owner">
    <vt:lpwstr>K_Naik@Dell.com</vt:lpwstr>
  </property>
  <property fmtid="{D5CDD505-2E9C-101B-9397-08002B2CF9AE}" pid="5" name="MSIP_Label_17cb76b2-10b8-4fe1-93d4-2202842406cd_SetDate">
    <vt:lpwstr>2019-10-10T02:45:37.6083203Z</vt:lpwstr>
  </property>
  <property fmtid="{D5CDD505-2E9C-101B-9397-08002B2CF9AE}" pid="6" name="MSIP_Label_17cb76b2-10b8-4fe1-93d4-2202842406cd_Name">
    <vt:lpwstr>External Public</vt:lpwstr>
  </property>
  <property fmtid="{D5CDD505-2E9C-101B-9397-08002B2CF9AE}" pid="7" name="MSIP_Label_17cb76b2-10b8-4fe1-93d4-2202842406cd_Application">
    <vt:lpwstr>Microsoft Azure Information Protection</vt:lpwstr>
  </property>
  <property fmtid="{D5CDD505-2E9C-101B-9397-08002B2CF9AE}" pid="8" name="MSIP_Label_17cb76b2-10b8-4fe1-93d4-2202842406cd_Extended_MSFT_Method">
    <vt:lpwstr>Manual</vt:lpwstr>
  </property>
  <property fmtid="{D5CDD505-2E9C-101B-9397-08002B2CF9AE}" pid="9" name="aiplabel">
    <vt:lpwstr>External Public</vt:lpwstr>
  </property>
</Properties>
</file>